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9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8D8D8D"/>
    <a:srgbClr val="C60018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576" y="120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6B30AA60-6346-44CC-8A60-4D3BD6D9DEB8}"/>
    <pc:docChg chg="delSld">
      <pc:chgData name="Meyer Raphael (PAR-ES)" userId="79615dfe-ed48-4e74-a40f-4f7b034c1c27" providerId="ADAL" clId="{6B30AA60-6346-44CC-8A60-4D3BD6D9DEB8}" dt="2022-03-03T14:52:23.767" v="0" actId="47"/>
      <pc:docMkLst>
        <pc:docMk/>
      </pc:docMkLst>
      <pc:sldChg chg="del">
        <pc:chgData name="Meyer Raphael (PAR-ES)" userId="79615dfe-ed48-4e74-a40f-4f7b034c1c27" providerId="ADAL" clId="{6B30AA60-6346-44CC-8A60-4D3BD6D9DEB8}" dt="2022-03-03T14:52:23.767" v="0" actId="47"/>
        <pc:sldMkLst>
          <pc:docMk/>
          <pc:sldMk cId="2001825019" sldId="407"/>
        </pc:sldMkLst>
      </pc:sldChg>
      <pc:sldChg chg="del">
        <pc:chgData name="Meyer Raphael (PAR-ES)" userId="79615dfe-ed48-4e74-a40f-4f7b034c1c27" providerId="ADAL" clId="{6B30AA60-6346-44CC-8A60-4D3BD6D9DEB8}" dt="2022-03-03T14:52:23.767" v="0" actId="47"/>
        <pc:sldMkLst>
          <pc:docMk/>
          <pc:sldMk cId="2775483100" sldId="408"/>
        </pc:sldMkLst>
      </pc:sldChg>
      <pc:sldChg chg="del">
        <pc:chgData name="Meyer Raphael (PAR-ES)" userId="79615dfe-ed48-4e74-a40f-4f7b034c1c27" providerId="ADAL" clId="{6B30AA60-6346-44CC-8A60-4D3BD6D9DEB8}" dt="2022-03-03T14:52:23.767" v="0" actId="47"/>
        <pc:sldMkLst>
          <pc:docMk/>
          <pc:sldMk cId="287567285" sldId="410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Weigel Stefan (PAR-EPS)" userId="fd3b2067-2981-4ad8-bf3a-d2e1004e4fa8" providerId="ADAL" clId="{068C4338-9E33-4030-91DF-2C7105B350DB}"/>
    <pc:docChg chg="custSel modSld">
      <pc:chgData name="Weigel Stefan (PAR-EPS)" userId="fd3b2067-2981-4ad8-bf3a-d2e1004e4fa8" providerId="ADAL" clId="{068C4338-9E33-4030-91DF-2C7105B350DB}" dt="2024-02-01T17:20:43.780" v="16" actId="790"/>
      <pc:docMkLst>
        <pc:docMk/>
      </pc:docMkLst>
      <pc:sldChg chg="modSp mod">
        <pc:chgData name="Weigel Stefan (PAR-EPS)" userId="fd3b2067-2981-4ad8-bf3a-d2e1004e4fa8" providerId="ADAL" clId="{068C4338-9E33-4030-91DF-2C7105B350DB}" dt="2024-02-01T17:20:43.780" v="16" actId="790"/>
        <pc:sldMkLst>
          <pc:docMk/>
          <pc:sldMk cId="236440730" sldId="409"/>
        </pc:sldMkLst>
        <pc:spChg chg="mod">
          <ac:chgData name="Weigel Stefan (PAR-EPS)" userId="fd3b2067-2981-4ad8-bf3a-d2e1004e4fa8" providerId="ADAL" clId="{068C4338-9E33-4030-91DF-2C7105B350DB}" dt="2024-02-01T17:20:43.780" v="16" actId="790"/>
          <ac:spMkLst>
            <pc:docMk/>
            <pc:sldMk cId="236440730" sldId="40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68C4338-9E33-4030-91DF-2C7105B350DB}" dt="2024-02-01T17:20:26.528" v="15" actId="20577"/>
          <ac:spMkLst>
            <pc:docMk/>
            <pc:sldMk cId="236440730" sldId="409"/>
            <ac:spMk id="10" creationId="{A3DB4B5C-8AF8-4D76-8E11-2708D942356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019F8519-991A-42F8-8A00-1073315C524B}"/>
    <pc:docChg chg="custSel addSld delSld modSld sldOrd">
      <pc:chgData name="Meyer Raphael (PAR-ES)" userId="79615dfe-ed48-4e74-a40f-4f7b034c1c27" providerId="ADAL" clId="{019F8519-991A-42F8-8A00-1073315C524B}" dt="2022-03-03T14:42:21.972" v="53" actId="27918"/>
      <pc:docMkLst>
        <pc:docMk/>
      </pc:docMkLst>
      <pc:sldChg chg="modSp mod">
        <pc:chgData name="Meyer Raphael (PAR-ES)" userId="79615dfe-ed48-4e74-a40f-4f7b034c1c27" providerId="ADAL" clId="{019F8519-991A-42F8-8A00-1073315C524B}" dt="2022-03-03T14:34:57.432" v="7" actId="27918"/>
        <pc:sldMkLst>
          <pc:docMk/>
          <pc:sldMk cId="2001825019" sldId="407"/>
        </pc:sldMkLst>
        <pc:graphicFrameChg chg="mod">
          <ac:chgData name="Meyer Raphael (PAR-ES)" userId="79615dfe-ed48-4e74-a40f-4f7b034c1c27" providerId="ADAL" clId="{019F8519-991A-42F8-8A00-1073315C524B}" dt="2022-03-03T14:34:25.718" v="4"/>
          <ac:graphicFrameMkLst>
            <pc:docMk/>
            <pc:sldMk cId="2001825019" sldId="407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019F8519-991A-42F8-8A00-1073315C524B}" dt="2022-03-03T14:40:31.808" v="38" actId="27918"/>
        <pc:sldMkLst>
          <pc:docMk/>
          <pc:sldMk cId="2775483100" sldId="408"/>
        </pc:sldMkLst>
        <pc:spChg chg="mod">
          <ac:chgData name="Meyer Raphael (PAR-ES)" userId="79615dfe-ed48-4e74-a40f-4f7b034c1c27" providerId="ADAL" clId="{019F8519-991A-42F8-8A00-1073315C524B}" dt="2022-03-03T14:39:21.783" v="23"/>
          <ac:spMkLst>
            <pc:docMk/>
            <pc:sldMk cId="2775483100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9:35.158" v="25" actId="20577"/>
          <ac:spMkLst>
            <pc:docMk/>
            <pc:sldMk cId="2775483100" sldId="408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39:57.410" v="31" actId="20577"/>
          <ac:spMkLst>
            <pc:docMk/>
            <pc:sldMk cId="2775483100" sldId="408"/>
            <ac:spMk id="10" creationId="{A3DB4B5C-8AF8-4D76-8E11-2708D9423565}"/>
          </ac:spMkLst>
        </pc:spChg>
      </pc:sldChg>
      <pc:sldChg chg="del">
        <pc:chgData name="Meyer Raphael (PAR-ES)" userId="79615dfe-ed48-4e74-a40f-4f7b034c1c27" providerId="ADAL" clId="{019F8519-991A-42F8-8A00-1073315C524B}" dt="2022-03-03T14:32:30.075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019F8519-991A-42F8-8A00-1073315C524B}" dt="2022-03-03T14:42:21.972" v="53" actId="27918"/>
        <pc:sldMkLst>
          <pc:docMk/>
          <pc:sldMk cId="236440730" sldId="409"/>
        </pc:sldMkLst>
        <pc:spChg chg="mod">
          <ac:chgData name="Meyer Raphael (PAR-ES)" userId="79615dfe-ed48-4e74-a40f-4f7b034c1c27" providerId="ADAL" clId="{019F8519-991A-42F8-8A00-1073315C524B}" dt="2022-03-03T14:41:17.944" v="39"/>
          <ac:spMkLst>
            <pc:docMk/>
            <pc:sldMk cId="236440730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41:30.816" v="41" actId="20577"/>
          <ac:spMkLst>
            <pc:docMk/>
            <pc:sldMk cId="236440730" sldId="409"/>
            <ac:spMk id="8" creationId="{41FD5CBC-8C89-4499-B28B-5EC68806F1EB}"/>
          </ac:spMkLst>
        </pc:spChg>
        <pc:spChg chg="mod">
          <ac:chgData name="Meyer Raphael (PAR-ES)" userId="79615dfe-ed48-4e74-a40f-4f7b034c1c27" providerId="ADAL" clId="{019F8519-991A-42F8-8A00-1073315C524B}" dt="2022-03-03T14:41:48.239" v="46" actId="20577"/>
          <ac:spMkLst>
            <pc:docMk/>
            <pc:sldMk cId="236440730" sldId="409"/>
            <ac:spMk id="10" creationId="{A3DB4B5C-8AF8-4D76-8E11-2708D9423565}"/>
          </ac:spMkLst>
        </pc:spChg>
      </pc:sldChg>
      <pc:sldChg chg="modSp add mod ord">
        <pc:chgData name="Meyer Raphael (PAR-ES)" userId="79615dfe-ed48-4e74-a40f-4f7b034c1c27" providerId="ADAL" clId="{019F8519-991A-42F8-8A00-1073315C524B}" dt="2022-03-03T14:38:53.634" v="22"/>
        <pc:sldMkLst>
          <pc:docMk/>
          <pc:sldMk cId="287567285" sldId="410"/>
        </pc:sldMkLst>
        <pc:spChg chg="mod">
          <ac:chgData name="Meyer Raphael (PAR-ES)" userId="79615dfe-ed48-4e74-a40f-4f7b034c1c27" providerId="ADAL" clId="{019F8519-991A-42F8-8A00-1073315C524B}" dt="2022-03-03T14:36:27.101" v="11"/>
          <ac:spMkLst>
            <pc:docMk/>
            <pc:sldMk cId="287567285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19F8519-991A-42F8-8A00-1073315C524B}" dt="2022-03-03T14:36:37.807" v="13" actId="20577"/>
          <ac:spMkLst>
            <pc:docMk/>
            <pc:sldMk cId="287567285" sldId="410"/>
            <ac:spMk id="8" creationId="{41FD5CBC-8C89-4499-B28B-5EC68806F1EB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0C0285D-C46A-4F7E-956E-29BA83B7B0A3}"/>
    <pc:docChg chg="custSel modSld">
      <pc:chgData name="Meyer Raphael (PAR-ES)" userId="79615dfe-ed48-4e74-a40f-4f7b034c1c27" providerId="ADAL" clId="{A0C0285D-C46A-4F7E-956E-29BA83B7B0A3}" dt="2023-02-24T11:09:05.071" v="4" actId="478"/>
      <pc:docMkLst>
        <pc:docMk/>
      </pc:docMkLst>
      <pc:sldChg chg="delSp mod">
        <pc:chgData name="Meyer Raphael (PAR-ES)" userId="79615dfe-ed48-4e74-a40f-4f7b034c1c27" providerId="ADAL" clId="{A0C0285D-C46A-4F7E-956E-29BA83B7B0A3}" dt="2023-02-24T11:09:05.071" v="4" actId="478"/>
        <pc:sldMkLst>
          <pc:docMk/>
          <pc:sldMk cId="236440730" sldId="409"/>
        </pc:sldMkLst>
        <pc:spChg chg="del">
          <ac:chgData name="Meyer Raphael (PAR-ES)" userId="79615dfe-ed48-4e74-a40f-4f7b034c1c27" providerId="ADAL" clId="{A0C0285D-C46A-4F7E-956E-29BA83B7B0A3}" dt="2023-02-24T11:09:05.071" v="4" actId="478"/>
          <ac:spMkLst>
            <pc:docMk/>
            <pc:sldMk cId="236440730" sldId="409"/>
            <ac:spMk id="11" creationId="{045A27AD-E3C8-4822-85DF-F2C9129A4E35}"/>
          </ac:spMkLst>
        </pc:sp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962907529120849E-2"/>
          <c:y val="9.0509769134196866E-2"/>
          <c:w val="0.88406650614954119"/>
          <c:h val="0.7373309477450928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Traffico viaggiatori</c:v>
                </c:pt>
              </c:strCache>
            </c:strRef>
          </c:tx>
          <c:spPr>
            <a:solidFill>
              <a:srgbClr val="DCDCDC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9:$C$19</c:f>
              <c:numCache>
                <c:formatCode>#,##0</c:formatCode>
                <c:ptCount val="11"/>
                <c:pt idx="0">
                  <c:v>14165.198333333299</c:v>
                </c:pt>
                <c:pt idx="1">
                  <c:v>14263.012500000001</c:v>
                </c:pt>
                <c:pt idx="2">
                  <c:v>14269.518333333301</c:v>
                </c:pt>
                <c:pt idx="3">
                  <c:v>14278.76</c:v>
                </c:pt>
                <c:pt idx="4">
                  <c:v>14234.0841666667</c:v>
                </c:pt>
                <c:pt idx="5">
                  <c:v>13989.9183333333</c:v>
                </c:pt>
                <c:pt idx="6">
                  <c:v>14192.7133333333</c:v>
                </c:pt>
                <c:pt idx="7">
                  <c:v>14680.4273333333</c:v>
                </c:pt>
                <c:pt idx="8">
                  <c:v>15055.8178333333</c:v>
                </c:pt>
                <c:pt idx="9">
                  <c:v>15124.152</c:v>
                </c:pt>
                <c:pt idx="10">
                  <c:v>15304.790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32-475B-9895-C8153D632F4B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Immobili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9:$D$19</c:f>
              <c:numCache>
                <c:formatCode>#,##0</c:formatCode>
                <c:ptCount val="11"/>
                <c:pt idx="0">
                  <c:v>801.95666666666705</c:v>
                </c:pt>
                <c:pt idx="1">
                  <c:v>816.52</c:v>
                </c:pt>
                <c:pt idx="2">
                  <c:v>816.73749999999995</c:v>
                </c:pt>
                <c:pt idx="3">
                  <c:v>791.30833333333305</c:v>
                </c:pt>
                <c:pt idx="4">
                  <c:v>779.07666666666705</c:v>
                </c:pt>
                <c:pt idx="5">
                  <c:v>775.75833333333298</c:v>
                </c:pt>
                <c:pt idx="6">
                  <c:v>790.16250000000002</c:v>
                </c:pt>
                <c:pt idx="7">
                  <c:v>793.05</c:v>
                </c:pt>
                <c:pt idx="8">
                  <c:v>780.30416666666702</c:v>
                </c:pt>
                <c:pt idx="9">
                  <c:v>1012.3375</c:v>
                </c:pt>
                <c:pt idx="10">
                  <c:v>1111.98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Traffico merci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9:$E$19</c:f>
              <c:numCache>
                <c:formatCode>#,##0</c:formatCode>
                <c:ptCount val="11"/>
                <c:pt idx="0">
                  <c:v>3060.6058333333299</c:v>
                </c:pt>
                <c:pt idx="1">
                  <c:v>2995.4666666666699</c:v>
                </c:pt>
                <c:pt idx="2">
                  <c:v>3111.4358333333298</c:v>
                </c:pt>
                <c:pt idx="3">
                  <c:v>3075.0916666666699</c:v>
                </c:pt>
                <c:pt idx="4">
                  <c:v>3114.4974999999999</c:v>
                </c:pt>
                <c:pt idx="5">
                  <c:v>3084.3791666666698</c:v>
                </c:pt>
                <c:pt idx="6">
                  <c:v>3131.9108333333302</c:v>
                </c:pt>
                <c:pt idx="7">
                  <c:v>3225.45166666667</c:v>
                </c:pt>
                <c:pt idx="8">
                  <c:v>3222.3150000000001</c:v>
                </c:pt>
                <c:pt idx="9">
                  <c:v>3283.7908333333298</c:v>
                </c:pt>
                <c:pt idx="10">
                  <c:v>3382.0668333333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ser>
          <c:idx val="3"/>
          <c:order val="3"/>
          <c:tx>
            <c:strRef>
              <c:f>data!$F$8</c:f>
              <c:strCache>
                <c:ptCount val="1"/>
                <c:pt idx="0">
                  <c:v>Infrastruttura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9:$F$19</c:f>
              <c:numCache>
                <c:formatCode>#,##0</c:formatCode>
                <c:ptCount val="11"/>
                <c:pt idx="0">
                  <c:v>10078.11</c:v>
                </c:pt>
                <c:pt idx="1">
                  <c:v>10375.9333333333</c:v>
                </c:pt>
                <c:pt idx="2">
                  <c:v>10313.2808333333</c:v>
                </c:pt>
                <c:pt idx="3">
                  <c:v>10322.555</c:v>
                </c:pt>
                <c:pt idx="4">
                  <c:v>10077.1675</c:v>
                </c:pt>
                <c:pt idx="5">
                  <c:v>9857.0010000000002</c:v>
                </c:pt>
                <c:pt idx="6">
                  <c:v>9776.7006666666693</c:v>
                </c:pt>
                <c:pt idx="7">
                  <c:v>9978.1352499999994</c:v>
                </c:pt>
                <c:pt idx="8">
                  <c:v>9999.1679999999997</c:v>
                </c:pt>
                <c:pt idx="9">
                  <c:v>9834.6158333333296</c:v>
                </c:pt>
                <c:pt idx="10">
                  <c:v>10060.218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832-475B-9895-C8153D632F4B}"/>
            </c:ext>
          </c:extLst>
        </c:ser>
        <c:ser>
          <c:idx val="4"/>
          <c:order val="4"/>
          <c:tx>
            <c:strRef>
              <c:f>data!$G$8</c:f>
              <c:strCache>
                <c:ptCount val="1"/>
                <c:pt idx="0">
                  <c:v>Settori centrali</c:v>
                </c:pt>
              </c:strCache>
            </c:strRef>
          </c:tx>
          <c:spPr>
            <a:solidFill>
              <a:srgbClr val="444444"/>
            </a:solidFill>
          </c:spPr>
          <c:invertIfNegative val="0"/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9:$G$19</c:f>
              <c:numCache>
                <c:formatCode>#,##0</c:formatCode>
                <c:ptCount val="11"/>
                <c:pt idx="0">
                  <c:v>3051.8458333333301</c:v>
                </c:pt>
                <c:pt idx="1">
                  <c:v>4405.7124999999996</c:v>
                </c:pt>
                <c:pt idx="2">
                  <c:v>4570.2008333333297</c:v>
                </c:pt>
                <c:pt idx="3">
                  <c:v>4650.9224999999997</c:v>
                </c:pt>
                <c:pt idx="4">
                  <c:v>4549.5791666666701</c:v>
                </c:pt>
                <c:pt idx="5">
                  <c:v>4601.68</c:v>
                </c:pt>
                <c:pt idx="6">
                  <c:v>4643.5958333333301</c:v>
                </c:pt>
                <c:pt idx="7">
                  <c:v>4821.2974999999997</c:v>
                </c:pt>
                <c:pt idx="8">
                  <c:v>4885.0749999999998</c:v>
                </c:pt>
                <c:pt idx="9">
                  <c:v>4972.0209999999997</c:v>
                </c:pt>
                <c:pt idx="10">
                  <c:v>5127.7668333333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</c:barChart>
      <c:lineChart>
        <c:grouping val="standard"/>
        <c:varyColors val="0"/>
        <c:ser>
          <c:idx val="5"/>
          <c:order val="5"/>
          <c:tx>
            <c:strRef>
              <c:f>data!$H$8</c:f>
              <c:strCache>
                <c:ptCount val="1"/>
                <c:pt idx="0">
                  <c:v>Percentuale di donne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9:$B$19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H$9:$H$19</c:f>
              <c:numCache>
                <c:formatCode>#,##0.0</c:formatCode>
                <c:ptCount val="11"/>
                <c:pt idx="0">
                  <c:v>16.413112909556698</c:v>
                </c:pt>
                <c:pt idx="1">
                  <c:v>16.706779904993098</c:v>
                </c:pt>
                <c:pt idx="2">
                  <c:v>16.869850128369801</c:v>
                </c:pt>
                <c:pt idx="3">
                  <c:v>16.9864016168254</c:v>
                </c:pt>
                <c:pt idx="4">
                  <c:v>17.086566956641398</c:v>
                </c:pt>
                <c:pt idx="5">
                  <c:v>17.294466952361901</c:v>
                </c:pt>
                <c:pt idx="6">
                  <c:v>17.743488314596998</c:v>
                </c:pt>
                <c:pt idx="7">
                  <c:v>18.388368529331199</c:v>
                </c:pt>
                <c:pt idx="8">
                  <c:v>18.807508997179099</c:v>
                </c:pt>
                <c:pt idx="9">
                  <c:v>19.004231973653201</c:v>
                </c:pt>
                <c:pt idx="10">
                  <c:v>19.4342755792735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  <c:max val="400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  <c:majorUnit val="10000"/>
      </c:valAx>
      <c:valAx>
        <c:axId val="164956032"/>
        <c:scaling>
          <c:orientation val="minMax"/>
          <c:max val="40"/>
        </c:scaling>
        <c:delete val="0"/>
        <c:axPos val="r"/>
        <c:numFmt formatCode="#,##0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000"/>
            </a:pPr>
            <a:endParaRPr lang="de-DE"/>
          </a:p>
        </c:txPr>
        <c:crossAx val="165049088"/>
        <c:crosses val="max"/>
        <c:crossBetween val="between"/>
        <c:majorUnit val="10"/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8.747283139194377E-2"/>
          <c:y val="0.89094027760027861"/>
          <c:w val="0.91252709637295903"/>
          <c:h val="0.106874244744039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535</cdr:x>
      <cdr:y>0.05871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25934" cy="23429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FTE</a:t>
          </a:r>
          <a:endParaRPr lang="de-CH" sz="105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95126</cdr:x>
      <cdr:y>0</cdr:y>
    </cdr:from>
    <cdr:to>
      <cdr:x>1</cdr:x>
      <cdr:y>0.05678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770791" y="0"/>
          <a:ext cx="449409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de-CH" sz="10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% </a:t>
          </a:r>
          <a:r>
            <a:rPr lang="de-CH" sz="1000" dirty="0" err="1">
              <a:solidFill>
                <a:srgbClr val="444444"/>
              </a:solidFill>
              <a:latin typeface="Arial" pitchFamily="34" charset="0"/>
              <a:cs typeface="Arial" pitchFamily="34" charset="0"/>
            </a:rPr>
            <a:t>coll</a:t>
          </a:r>
          <a:r>
            <a:rPr lang="de-CH" sz="1000" dirty="0">
              <a:solidFill>
                <a:srgbClr val="444444"/>
              </a:solidFill>
              <a:latin typeface="Arial" pitchFamily="34" charset="0"/>
              <a:cs typeface="Arial" pitchFamily="34" charset="0"/>
            </a:rPr>
            <a:t>.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02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15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CH"/>
              <a:t>Organico del Gruppo FFS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406858318"/>
              </p:ext>
            </p:extLst>
          </p:nvPr>
        </p:nvGraphicFramePr>
        <p:xfrm>
          <a:off x="1494169" y="1886296"/>
          <a:ext cx="9220200" cy="3990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" name="Textfeld 7">
            <a:extLst>
              <a:ext uri="{FF2B5EF4-FFF2-40B4-BE49-F238E27FC236}">
                <a16:creationId xmlns:a16="http://schemas.microsoft.com/office/drawing/2014/main" id="{41FD5CBC-8C89-4499-B28B-5EC68806F1EB}"/>
              </a:ext>
            </a:extLst>
          </p:cNvPr>
          <p:cNvSpPr txBox="1"/>
          <p:nvPr/>
        </p:nvSpPr>
        <p:spPr>
          <a:xfrm>
            <a:off x="1487488" y="1015830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Impiegati a tempo pieno nella media annua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64407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66E95D-19C2-4293-B222-EA41C28ABC6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96e82a89-ba48-4728-b345-cf206dbec8f1"/>
    <ds:schemaRef ds:uri="http://purl.org/dc/terms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purl.org/dc/elements/1.1/"/>
    <ds:schemaRef ds:uri="http://schemas.microsoft.com/office/infopath/2007/PartnerControls"/>
    <ds:schemaRef ds:uri="2f5c8543-cf23-4718-a3b8-32b0a91d511a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5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Organico del Gruppo FFS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rganico del Gruppo FFS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02T11:53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